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Quicksand" pitchFamily="2" charset="0"/>
      <p:regular r:id="rId7"/>
      <p:bold r:id="rId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7EF"/>
    <a:srgbClr val="FFEA97"/>
    <a:srgbClr val="FFFCED"/>
    <a:srgbClr val="FFF8E2"/>
    <a:srgbClr val="4D7389"/>
    <a:srgbClr val="FFFAF2"/>
    <a:srgbClr val="3B9F8D"/>
    <a:srgbClr val="991C1D"/>
    <a:srgbClr val="8F3B00"/>
    <a:srgbClr val="754A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70" autoAdjust="0"/>
    <p:restoredTop sz="94622" autoAdjust="0"/>
  </p:normalViewPr>
  <p:slideViewPr>
    <p:cSldViewPr>
      <p:cViewPr varScale="1">
        <p:scale>
          <a:sx n="68" d="100"/>
          <a:sy n="68" d="100"/>
        </p:scale>
        <p:origin x="2592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heme" Target="theme/theme1.xml"/><Relationship Id="rId5" Type="http://schemas.openxmlformats.org/officeDocument/2006/relationships/font" Target="fonts/font3.fntdata"/><Relationship Id="rId10" Type="http://schemas.openxmlformats.org/officeDocument/2006/relationships/viewProps" Target="viewProps.xml"/><Relationship Id="rId4" Type="http://schemas.openxmlformats.org/officeDocument/2006/relationships/font" Target="fonts/font2.fntdata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3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54A9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4">
            <a:extLst>
              <a:ext uri="{FF2B5EF4-FFF2-40B4-BE49-F238E27FC236}">
                <a16:creationId xmlns:a16="http://schemas.microsoft.com/office/drawing/2014/main" id="{69157A38-BE3F-B83C-F462-D53873A80B33}"/>
              </a:ext>
            </a:extLst>
          </p:cNvPr>
          <p:cNvGrpSpPr/>
          <p:nvPr/>
        </p:nvGrpSpPr>
        <p:grpSpPr>
          <a:xfrm>
            <a:off x="-440968" y="-106305"/>
            <a:ext cx="8196371" cy="11130473"/>
            <a:chOff x="-440968" y="-106305"/>
            <a:chExt cx="8196371" cy="11130473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0A0DE0EF-72C8-5C49-C993-35FB2DCBED03}"/>
                </a:ext>
              </a:extLst>
            </p:cNvPr>
            <p:cNvGrpSpPr/>
            <p:nvPr/>
          </p:nvGrpSpPr>
          <p:grpSpPr>
            <a:xfrm>
              <a:off x="-440968" y="-106305"/>
              <a:ext cx="8196371" cy="11130473"/>
              <a:chOff x="-440968" y="-106305"/>
              <a:chExt cx="8196371" cy="11130473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DFC970B5-7EEF-94A3-5339-D62218FA3691}"/>
                  </a:ext>
                </a:extLst>
              </p:cNvPr>
              <p:cNvSpPr/>
              <p:nvPr/>
            </p:nvSpPr>
            <p:spPr>
              <a:xfrm rot="4822925">
                <a:off x="5594942" y="429996"/>
                <a:ext cx="2696762" cy="1624160"/>
              </a:xfrm>
              <a:custGeom>
                <a:avLst/>
                <a:gdLst>
                  <a:gd name="connsiteX0" fmla="*/ 0 w 2696762"/>
                  <a:gd name="connsiteY0" fmla="*/ 1334908 h 1624160"/>
                  <a:gd name="connsiteX1" fmla="*/ 226212 w 2696762"/>
                  <a:gd name="connsiteY1" fmla="*/ 0 h 1624160"/>
                  <a:gd name="connsiteX2" fmla="*/ 2696762 w 2696762"/>
                  <a:gd name="connsiteY2" fmla="*/ 418657 h 1624160"/>
                  <a:gd name="connsiteX3" fmla="*/ 2696762 w 2696762"/>
                  <a:gd name="connsiteY3" fmla="*/ 1624160 h 1624160"/>
                  <a:gd name="connsiteX4" fmla="*/ 0 w 2696762"/>
                  <a:gd name="connsiteY4" fmla="*/ 1624160 h 1624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96762" h="1624160">
                    <a:moveTo>
                      <a:pt x="0" y="1334908"/>
                    </a:moveTo>
                    <a:lnTo>
                      <a:pt x="226212" y="0"/>
                    </a:lnTo>
                    <a:lnTo>
                      <a:pt x="2696762" y="418657"/>
                    </a:lnTo>
                    <a:lnTo>
                      <a:pt x="2696762" y="1624160"/>
                    </a:lnTo>
                    <a:lnTo>
                      <a:pt x="0" y="1624160"/>
                    </a:lnTo>
                    <a:close/>
                  </a:path>
                </a:pathLst>
              </a:custGeom>
              <a:blipFill>
                <a:blip r:embed="rId3">
                  <a:alphaModFix amt="98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t="-26368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19479BA1-CE66-FB10-AAF1-0B0658AAA9AE}"/>
                  </a:ext>
                </a:extLst>
              </p:cNvPr>
              <p:cNvSpPr/>
              <p:nvPr/>
            </p:nvSpPr>
            <p:spPr>
              <a:xfrm rot="-6675954">
                <a:off x="-944117" y="8157634"/>
                <a:ext cx="3369683" cy="2363385"/>
              </a:xfrm>
              <a:custGeom>
                <a:avLst/>
                <a:gdLst>
                  <a:gd name="connsiteX0" fmla="*/ 3369683 w 3369683"/>
                  <a:gd name="connsiteY0" fmla="*/ 2363385 h 2363385"/>
                  <a:gd name="connsiteX1" fmla="*/ 0 w 3369683"/>
                  <a:gd name="connsiteY1" fmla="*/ 2363385 h 2363385"/>
                  <a:gd name="connsiteX2" fmla="*/ 0 w 3369683"/>
                  <a:gd name="connsiteY2" fmla="*/ 1772788 h 2363385"/>
                  <a:gd name="connsiteX3" fmla="*/ 802 w 3369683"/>
                  <a:gd name="connsiteY3" fmla="*/ 1773100 h 2363385"/>
                  <a:gd name="connsiteX4" fmla="*/ 690889 w 3369683"/>
                  <a:gd name="connsiteY4" fmla="*/ 0 h 2363385"/>
                  <a:gd name="connsiteX5" fmla="*/ 3257652 w 3369683"/>
                  <a:gd name="connsiteY5" fmla="*/ 998979 h 2363385"/>
                  <a:gd name="connsiteX6" fmla="*/ 3369683 w 3369683"/>
                  <a:gd name="connsiteY6" fmla="*/ 711129 h 2363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69683" h="2363385">
                    <a:moveTo>
                      <a:pt x="3369683" y="2363385"/>
                    </a:moveTo>
                    <a:lnTo>
                      <a:pt x="0" y="2363385"/>
                    </a:lnTo>
                    <a:lnTo>
                      <a:pt x="0" y="1772788"/>
                    </a:lnTo>
                    <a:lnTo>
                      <a:pt x="802" y="1773100"/>
                    </a:lnTo>
                    <a:lnTo>
                      <a:pt x="690889" y="0"/>
                    </a:lnTo>
                    <a:lnTo>
                      <a:pt x="3257652" y="998979"/>
                    </a:lnTo>
                    <a:lnTo>
                      <a:pt x="3369683" y="711129"/>
                    </a:lnTo>
                    <a:close/>
                  </a:path>
                </a:pathLst>
              </a:custGeom>
              <a:blipFill>
                <a:blip r:embed="rId3">
                  <a:alphaModFix amt="98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t="-18656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" name="Freeform 4"/>
              <p:cNvSpPr/>
              <p:nvPr/>
            </p:nvSpPr>
            <p:spPr>
              <a:xfrm>
                <a:off x="0" y="0"/>
                <a:ext cx="1102097" cy="1360568"/>
              </a:xfrm>
              <a:custGeom>
                <a:avLst/>
                <a:gdLst/>
                <a:ahLst/>
                <a:cxnLst/>
                <a:rect l="l" t="t" r="r" b="b"/>
                <a:pathLst>
                  <a:path w="1796719" h="1750984">
                    <a:moveTo>
                      <a:pt x="0" y="0"/>
                    </a:moveTo>
                    <a:lnTo>
                      <a:pt x="1796719" y="0"/>
                    </a:lnTo>
                    <a:lnTo>
                      <a:pt x="1796719" y="1750984"/>
                    </a:lnTo>
                    <a:lnTo>
                      <a:pt x="0" y="175098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l="-63028" t="-28695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" name="Freeform 5"/>
              <p:cNvSpPr/>
              <p:nvPr/>
            </p:nvSpPr>
            <p:spPr>
              <a:xfrm>
                <a:off x="6650641" y="9596723"/>
                <a:ext cx="905860" cy="1096677"/>
              </a:xfrm>
              <a:custGeom>
                <a:avLst/>
                <a:gdLst/>
                <a:ahLst/>
                <a:cxnLst/>
                <a:rect l="l" t="t" r="r" b="b"/>
                <a:pathLst>
                  <a:path w="1796719" h="1750984">
                    <a:moveTo>
                      <a:pt x="0" y="0"/>
                    </a:moveTo>
                    <a:lnTo>
                      <a:pt x="1796719" y="0"/>
                    </a:lnTo>
                    <a:lnTo>
                      <a:pt x="1796719" y="1750984"/>
                    </a:lnTo>
                    <a:lnTo>
                      <a:pt x="0" y="175098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r="-98344" b="-59663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" name="Freeform 6"/>
              <p:cNvSpPr/>
              <p:nvPr/>
            </p:nvSpPr>
            <p:spPr>
              <a:xfrm>
                <a:off x="0" y="7234087"/>
                <a:ext cx="540009" cy="650420"/>
              </a:xfrm>
              <a:custGeom>
                <a:avLst/>
                <a:gdLst/>
                <a:ahLst/>
                <a:cxnLst/>
                <a:rect l="l" t="t" r="r" b="b"/>
                <a:pathLst>
                  <a:path w="849717" h="650420">
                    <a:moveTo>
                      <a:pt x="0" y="0"/>
                    </a:moveTo>
                    <a:lnTo>
                      <a:pt x="849717" y="0"/>
                    </a:lnTo>
                    <a:lnTo>
                      <a:pt x="849717" y="650420"/>
                    </a:lnTo>
                    <a:lnTo>
                      <a:pt x="0" y="65042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 l="-57352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Freeform 7"/>
              <p:cNvSpPr/>
              <p:nvPr/>
            </p:nvSpPr>
            <p:spPr>
              <a:xfrm>
                <a:off x="7043027" y="4004573"/>
                <a:ext cx="513474" cy="650420"/>
              </a:xfrm>
              <a:custGeom>
                <a:avLst/>
                <a:gdLst/>
                <a:ahLst/>
                <a:cxnLst/>
                <a:rect l="l" t="t" r="r" b="b"/>
                <a:pathLst>
                  <a:path w="849717" h="650420">
                    <a:moveTo>
                      <a:pt x="0" y="0"/>
                    </a:moveTo>
                    <a:lnTo>
                      <a:pt x="849717" y="0"/>
                    </a:lnTo>
                    <a:lnTo>
                      <a:pt x="849717" y="650420"/>
                    </a:lnTo>
                    <a:lnTo>
                      <a:pt x="0" y="65042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r="-65484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Freeform 8"/>
              <p:cNvSpPr/>
              <p:nvPr/>
            </p:nvSpPr>
            <p:spPr>
              <a:xfrm>
                <a:off x="7080225" y="6430012"/>
                <a:ext cx="476275" cy="595877"/>
              </a:xfrm>
              <a:custGeom>
                <a:avLst/>
                <a:gdLst/>
                <a:ahLst/>
                <a:cxnLst/>
                <a:rect l="l" t="t" r="r" b="b"/>
                <a:pathLst>
                  <a:path w="503787" h="595877">
                    <a:moveTo>
                      <a:pt x="0" y="0"/>
                    </a:moveTo>
                    <a:lnTo>
                      <a:pt x="503787" y="0"/>
                    </a:lnTo>
                    <a:lnTo>
                      <a:pt x="503787" y="595877"/>
                    </a:lnTo>
                    <a:lnTo>
                      <a:pt x="0" y="595877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r="-5776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Freeform 9"/>
              <p:cNvSpPr/>
              <p:nvPr/>
            </p:nvSpPr>
            <p:spPr>
              <a:xfrm flipH="1">
                <a:off x="0" y="4781148"/>
                <a:ext cx="605816" cy="951152"/>
              </a:xfrm>
              <a:custGeom>
                <a:avLst/>
                <a:gdLst/>
                <a:ahLst/>
                <a:cxnLst/>
                <a:rect l="l" t="t" r="r" b="b"/>
                <a:pathLst>
                  <a:path w="804156" h="951152">
                    <a:moveTo>
                      <a:pt x="804155" y="0"/>
                    </a:moveTo>
                    <a:lnTo>
                      <a:pt x="0" y="0"/>
                    </a:lnTo>
                    <a:lnTo>
                      <a:pt x="0" y="951152"/>
                    </a:lnTo>
                    <a:lnTo>
                      <a:pt x="804155" y="951152"/>
                    </a:lnTo>
                    <a:lnTo>
                      <a:pt x="804155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l="1" r="-32739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Freeform 45"/>
              <p:cNvSpPr/>
              <p:nvPr/>
            </p:nvSpPr>
            <p:spPr>
              <a:xfrm>
                <a:off x="0" y="2174304"/>
                <a:ext cx="309709" cy="425708"/>
              </a:xfrm>
              <a:custGeom>
                <a:avLst/>
                <a:gdLst/>
                <a:ahLst/>
                <a:cxnLst/>
                <a:rect l="l" t="t" r="r" b="b"/>
                <a:pathLst>
                  <a:path w="619417" h="425708">
                    <a:moveTo>
                      <a:pt x="0" y="0"/>
                    </a:moveTo>
                    <a:lnTo>
                      <a:pt x="619416" y="0"/>
                    </a:lnTo>
                    <a:lnTo>
                      <a:pt x="619416" y="425708"/>
                    </a:lnTo>
                    <a:lnTo>
                      <a:pt x="0" y="42570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l="-100000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" name="Freeform 46"/>
              <p:cNvSpPr/>
              <p:nvPr/>
            </p:nvSpPr>
            <p:spPr>
              <a:xfrm>
                <a:off x="7239291" y="8800908"/>
                <a:ext cx="317209" cy="425708"/>
              </a:xfrm>
              <a:custGeom>
                <a:avLst/>
                <a:gdLst/>
                <a:ahLst/>
                <a:cxnLst/>
                <a:rect l="l" t="t" r="r" b="b"/>
                <a:pathLst>
                  <a:path w="619417" h="425708">
                    <a:moveTo>
                      <a:pt x="0" y="0"/>
                    </a:moveTo>
                    <a:lnTo>
                      <a:pt x="619417" y="0"/>
                    </a:lnTo>
                    <a:lnTo>
                      <a:pt x="619417" y="425708"/>
                    </a:lnTo>
                    <a:lnTo>
                      <a:pt x="0" y="42570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r="-95271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4A268AEC-9D99-0F97-9DEC-20F19F309041}"/>
                </a:ext>
              </a:extLst>
            </p:cNvPr>
            <p:cNvGrpSpPr/>
            <p:nvPr/>
          </p:nvGrpSpPr>
          <p:grpSpPr>
            <a:xfrm>
              <a:off x="334627" y="311626"/>
              <a:ext cx="6887246" cy="10070148"/>
              <a:chOff x="334627" y="311626"/>
              <a:chExt cx="6887246" cy="10070148"/>
            </a:xfrm>
          </p:grpSpPr>
          <p:sp>
            <p:nvSpPr>
              <p:cNvPr id="70" name="Rectangle: Rounded Corners 69">
                <a:extLst>
                  <a:ext uri="{FF2B5EF4-FFF2-40B4-BE49-F238E27FC236}">
                    <a16:creationId xmlns:a16="http://schemas.microsoft.com/office/drawing/2014/main" id="{AB0FCE83-E18D-B93A-55AB-B6B09201EA1A}"/>
                  </a:ext>
                </a:extLst>
              </p:cNvPr>
              <p:cNvSpPr/>
              <p:nvPr/>
            </p:nvSpPr>
            <p:spPr>
              <a:xfrm>
                <a:off x="334627" y="624255"/>
                <a:ext cx="6887246" cy="9757519"/>
              </a:xfrm>
              <a:prstGeom prst="roundRect">
                <a:avLst>
                  <a:gd name="adj" fmla="val 3286"/>
                </a:avLst>
              </a:prstGeom>
              <a:solidFill>
                <a:schemeClr val="bg1"/>
              </a:solidFill>
              <a:ln w="28575">
                <a:solidFill>
                  <a:srgbClr val="754A9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tangle: Rounded Corners 70">
                <a:extLst>
                  <a:ext uri="{FF2B5EF4-FFF2-40B4-BE49-F238E27FC236}">
                    <a16:creationId xmlns:a16="http://schemas.microsoft.com/office/drawing/2014/main" id="{8382F804-04E9-6BAE-DB88-5C0327610636}"/>
                  </a:ext>
                </a:extLst>
              </p:cNvPr>
              <p:cNvSpPr/>
              <p:nvPr/>
            </p:nvSpPr>
            <p:spPr>
              <a:xfrm>
                <a:off x="1360974" y="311626"/>
                <a:ext cx="4834553" cy="640874"/>
              </a:xfrm>
              <a:prstGeom prst="roundRect">
                <a:avLst>
                  <a:gd name="adj" fmla="val 14185"/>
                </a:avLst>
              </a:prstGeom>
              <a:solidFill>
                <a:schemeClr val="bg1"/>
              </a:solidFill>
              <a:ln w="28575">
                <a:solidFill>
                  <a:srgbClr val="754A9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TextBox 47"/>
              <p:cNvSpPr txBox="1"/>
              <p:nvPr/>
            </p:nvSpPr>
            <p:spPr>
              <a:xfrm>
                <a:off x="1640876" y="466633"/>
                <a:ext cx="4274749" cy="33086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800"/>
                  </a:lnSpc>
                </a:pPr>
                <a:r>
                  <a:rPr lang="en-US" sz="2000" b="1" dirty="0">
                    <a:solidFill>
                      <a:srgbClr val="551B8D"/>
                    </a:solidFill>
                    <a:latin typeface="Quicksand" pitchFamily="2" charset="0"/>
                  </a:rPr>
                  <a:t>SCIENCE EXIT TICKET TEMPLATE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2076E02F-B2AD-56E6-AB4F-9A3F54ED30D7}"/>
                </a:ext>
              </a:extLst>
            </p:cNvPr>
            <p:cNvGrpSpPr/>
            <p:nvPr/>
          </p:nvGrpSpPr>
          <p:grpSpPr>
            <a:xfrm>
              <a:off x="582951" y="799193"/>
              <a:ext cx="6221049" cy="7259986"/>
              <a:chOff x="582951" y="799193"/>
              <a:chExt cx="6221049" cy="7259986"/>
            </a:xfrm>
          </p:grpSpPr>
          <p:sp>
            <p:nvSpPr>
              <p:cNvPr id="41" name="Freeform 41"/>
              <p:cNvSpPr/>
              <p:nvPr/>
            </p:nvSpPr>
            <p:spPr>
              <a:xfrm>
                <a:off x="6457903" y="2440682"/>
                <a:ext cx="346097" cy="349345"/>
              </a:xfrm>
              <a:custGeom>
                <a:avLst/>
                <a:gdLst/>
                <a:ahLst/>
                <a:cxnLst/>
                <a:rect l="l" t="t" r="r" b="b"/>
                <a:pathLst>
                  <a:path w="346097" h="349345">
                    <a:moveTo>
                      <a:pt x="0" y="0"/>
                    </a:moveTo>
                    <a:lnTo>
                      <a:pt x="346097" y="0"/>
                    </a:lnTo>
                    <a:lnTo>
                      <a:pt x="346097" y="349345"/>
                    </a:lnTo>
                    <a:lnTo>
                      <a:pt x="0" y="34934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Freeform 42"/>
              <p:cNvSpPr/>
              <p:nvPr/>
            </p:nvSpPr>
            <p:spPr>
              <a:xfrm>
                <a:off x="582951" y="799193"/>
                <a:ext cx="346097" cy="349345"/>
              </a:xfrm>
              <a:custGeom>
                <a:avLst/>
                <a:gdLst/>
                <a:ahLst/>
                <a:cxnLst/>
                <a:rect l="l" t="t" r="r" b="b"/>
                <a:pathLst>
                  <a:path w="346097" h="349345">
                    <a:moveTo>
                      <a:pt x="0" y="0"/>
                    </a:moveTo>
                    <a:lnTo>
                      <a:pt x="346098" y="0"/>
                    </a:lnTo>
                    <a:lnTo>
                      <a:pt x="346098" y="349345"/>
                    </a:lnTo>
                    <a:lnTo>
                      <a:pt x="0" y="34934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Freeform 43"/>
              <p:cNvSpPr/>
              <p:nvPr/>
            </p:nvSpPr>
            <p:spPr>
              <a:xfrm>
                <a:off x="756000" y="5297588"/>
                <a:ext cx="346097" cy="349345"/>
              </a:xfrm>
              <a:custGeom>
                <a:avLst/>
                <a:gdLst/>
                <a:ahLst/>
                <a:cxnLst/>
                <a:rect l="l" t="t" r="r" b="b"/>
                <a:pathLst>
                  <a:path w="346097" h="349345">
                    <a:moveTo>
                      <a:pt x="0" y="0"/>
                    </a:moveTo>
                    <a:lnTo>
                      <a:pt x="346097" y="0"/>
                    </a:lnTo>
                    <a:lnTo>
                      <a:pt x="346097" y="349345"/>
                    </a:lnTo>
                    <a:lnTo>
                      <a:pt x="0" y="34934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Freeform 44"/>
              <p:cNvSpPr/>
              <p:nvPr/>
            </p:nvSpPr>
            <p:spPr>
              <a:xfrm>
                <a:off x="6457903" y="7709834"/>
                <a:ext cx="346097" cy="349345"/>
              </a:xfrm>
              <a:custGeom>
                <a:avLst/>
                <a:gdLst/>
                <a:ahLst/>
                <a:cxnLst/>
                <a:rect l="l" t="t" r="r" b="b"/>
                <a:pathLst>
                  <a:path w="346097" h="349345">
                    <a:moveTo>
                      <a:pt x="0" y="0"/>
                    </a:moveTo>
                    <a:lnTo>
                      <a:pt x="346097" y="0"/>
                    </a:lnTo>
                    <a:lnTo>
                      <a:pt x="346097" y="349345"/>
                    </a:lnTo>
                    <a:lnTo>
                      <a:pt x="0" y="34934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5B0532D-5DA8-7EF6-65BE-BADD92D157EC}"/>
                </a:ext>
              </a:extLst>
            </p:cNvPr>
            <p:cNvGrpSpPr/>
            <p:nvPr/>
          </p:nvGrpSpPr>
          <p:grpSpPr>
            <a:xfrm>
              <a:off x="755125" y="7741632"/>
              <a:ext cx="6046250" cy="2202690"/>
              <a:chOff x="755125" y="7741632"/>
              <a:chExt cx="6046250" cy="2202690"/>
            </a:xfrm>
          </p:grpSpPr>
          <p:sp>
            <p:nvSpPr>
              <p:cNvPr id="48" name="TextBox 48"/>
              <p:cNvSpPr txBox="1"/>
              <p:nvPr/>
            </p:nvSpPr>
            <p:spPr>
              <a:xfrm>
                <a:off x="1640876" y="7741632"/>
                <a:ext cx="4274749" cy="2571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100"/>
                  </a:lnSpc>
                </a:pPr>
                <a:r>
                  <a:rPr lang="en-US" sz="1500" b="1" dirty="0">
                    <a:solidFill>
                      <a:srgbClr val="551B8D"/>
                    </a:solidFill>
                    <a:latin typeface="Quicksand" pitchFamily="2" charset="0"/>
                  </a:rPr>
                  <a:t>QUESTION 3</a:t>
                </a:r>
              </a:p>
            </p:txBody>
          </p:sp>
          <p:sp>
            <p:nvSpPr>
              <p:cNvPr id="49" name="TextBox 49"/>
              <p:cNvSpPr txBox="1"/>
              <p:nvPr/>
            </p:nvSpPr>
            <p:spPr>
              <a:xfrm>
                <a:off x="890533" y="8074896"/>
                <a:ext cx="5775434" cy="1781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540"/>
                  </a:lnSpc>
                </a:pPr>
                <a:r>
                  <a:rPr lang="en-US" sz="1100" b="1" dirty="0">
                    <a:solidFill>
                      <a:srgbClr val="1E1E1E"/>
                    </a:solidFill>
                    <a:latin typeface="Quicksand" pitchFamily="2" charset="0"/>
                  </a:rPr>
                  <a:t>List three important vocabulary words or terms related to today's topic</a:t>
                </a:r>
              </a:p>
            </p:txBody>
          </p:sp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477F3BD5-E736-4E42-59BD-76865F0CF8A1}"/>
                  </a:ext>
                </a:extLst>
              </p:cNvPr>
              <p:cNvSpPr/>
              <p:nvPr/>
            </p:nvSpPr>
            <p:spPr>
              <a:xfrm>
                <a:off x="4916740" y="8409885"/>
                <a:ext cx="1884635" cy="1534437"/>
              </a:xfrm>
              <a:prstGeom prst="roundRect">
                <a:avLst>
                  <a:gd name="adj" fmla="val 10873"/>
                </a:avLst>
              </a:prstGeom>
              <a:solidFill>
                <a:schemeClr val="bg1"/>
              </a:solidFill>
              <a:ln w="19050">
                <a:solidFill>
                  <a:srgbClr val="754A9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Rectangle: Rounded Corners 56">
                <a:extLst>
                  <a:ext uri="{FF2B5EF4-FFF2-40B4-BE49-F238E27FC236}">
                    <a16:creationId xmlns:a16="http://schemas.microsoft.com/office/drawing/2014/main" id="{48430887-3EF8-1A7E-367F-1693F649E04D}"/>
                  </a:ext>
                </a:extLst>
              </p:cNvPr>
              <p:cNvSpPr/>
              <p:nvPr/>
            </p:nvSpPr>
            <p:spPr>
              <a:xfrm>
                <a:off x="2835058" y="8409885"/>
                <a:ext cx="1884635" cy="1534437"/>
              </a:xfrm>
              <a:prstGeom prst="roundRect">
                <a:avLst>
                  <a:gd name="adj" fmla="val 10873"/>
                </a:avLst>
              </a:prstGeom>
              <a:solidFill>
                <a:schemeClr val="bg1"/>
              </a:solidFill>
              <a:ln w="19050">
                <a:solidFill>
                  <a:srgbClr val="754A9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Rectangle: Rounded Corners 57">
                <a:extLst>
                  <a:ext uri="{FF2B5EF4-FFF2-40B4-BE49-F238E27FC236}">
                    <a16:creationId xmlns:a16="http://schemas.microsoft.com/office/drawing/2014/main" id="{C809C2CC-ED4B-0BA5-DA5A-5BDAA9582E69}"/>
                  </a:ext>
                </a:extLst>
              </p:cNvPr>
              <p:cNvSpPr/>
              <p:nvPr/>
            </p:nvSpPr>
            <p:spPr>
              <a:xfrm>
                <a:off x="755125" y="8409885"/>
                <a:ext cx="1884635" cy="1534437"/>
              </a:xfrm>
              <a:prstGeom prst="roundRect">
                <a:avLst>
                  <a:gd name="adj" fmla="val 10873"/>
                </a:avLst>
              </a:prstGeom>
              <a:solidFill>
                <a:schemeClr val="bg1"/>
              </a:solidFill>
              <a:ln w="19050">
                <a:solidFill>
                  <a:srgbClr val="754A9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2215FF3F-663C-AB2E-8FA2-911694584AEC}"/>
                </a:ext>
              </a:extLst>
            </p:cNvPr>
            <p:cNvGrpSpPr/>
            <p:nvPr/>
          </p:nvGrpSpPr>
          <p:grpSpPr>
            <a:xfrm>
              <a:off x="754250" y="5076099"/>
              <a:ext cx="6048000" cy="2400241"/>
              <a:chOff x="754250" y="5076099"/>
              <a:chExt cx="6048000" cy="2400241"/>
            </a:xfrm>
          </p:grpSpPr>
          <p:sp>
            <p:nvSpPr>
              <p:cNvPr id="23" name="TextBox 23"/>
              <p:cNvSpPr txBox="1"/>
              <p:nvPr/>
            </p:nvSpPr>
            <p:spPr>
              <a:xfrm>
                <a:off x="1640875" y="5076099"/>
                <a:ext cx="4274750" cy="25003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100"/>
                  </a:lnSpc>
                </a:pPr>
                <a:r>
                  <a:rPr lang="en-US" sz="1500" b="1" dirty="0">
                    <a:solidFill>
                      <a:srgbClr val="551B8D"/>
                    </a:solidFill>
                    <a:latin typeface="Quicksand" pitchFamily="2" charset="0"/>
                  </a:rPr>
                  <a:t>QUESTION 2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890533" y="5409363"/>
                <a:ext cx="5775434" cy="37449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540"/>
                  </a:lnSpc>
                </a:pPr>
                <a:r>
                  <a:rPr lang="en-US" sz="1100" b="1" dirty="0">
                    <a:solidFill>
                      <a:srgbClr val="1E1E1E"/>
                    </a:solidFill>
                    <a:latin typeface="Quicksand" pitchFamily="2" charset="0"/>
                  </a:rPr>
                  <a:t>Describe one experiment, observation, or demonstration </a:t>
                </a:r>
              </a:p>
              <a:p>
                <a:pPr algn="ctr">
                  <a:lnSpc>
                    <a:spcPts val="1540"/>
                  </a:lnSpc>
                </a:pPr>
                <a:r>
                  <a:rPr lang="en-US" sz="1100" b="1" dirty="0">
                    <a:solidFill>
                      <a:srgbClr val="1E1E1E"/>
                    </a:solidFill>
                    <a:latin typeface="Quicksand" pitchFamily="2" charset="0"/>
                  </a:rPr>
                  <a:t>from today's lesson and its significance</a:t>
                </a:r>
              </a:p>
            </p:txBody>
          </p:sp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8F97DC78-128D-7AE1-8E8F-E120A796BF6B}"/>
                  </a:ext>
                </a:extLst>
              </p:cNvPr>
              <p:cNvSpPr/>
              <p:nvPr/>
            </p:nvSpPr>
            <p:spPr>
              <a:xfrm>
                <a:off x="754250" y="5941903"/>
                <a:ext cx="6048000" cy="1534437"/>
              </a:xfrm>
              <a:prstGeom prst="roundRect">
                <a:avLst>
                  <a:gd name="adj" fmla="val 10873"/>
                </a:avLst>
              </a:prstGeom>
              <a:solidFill>
                <a:schemeClr val="bg1"/>
              </a:solidFill>
              <a:ln w="19050">
                <a:solidFill>
                  <a:srgbClr val="754A9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4F8E9BA5-474E-73D5-D444-042105E25CB3}"/>
                </a:ext>
              </a:extLst>
            </p:cNvPr>
            <p:cNvGrpSpPr/>
            <p:nvPr/>
          </p:nvGrpSpPr>
          <p:grpSpPr>
            <a:xfrm>
              <a:off x="754250" y="2593923"/>
              <a:ext cx="6048000" cy="2199667"/>
              <a:chOff x="754250" y="2593923"/>
              <a:chExt cx="6048000" cy="2199667"/>
            </a:xfrm>
          </p:grpSpPr>
          <p:sp>
            <p:nvSpPr>
              <p:cNvPr id="17" name="TextBox 17"/>
              <p:cNvSpPr txBox="1"/>
              <p:nvPr/>
            </p:nvSpPr>
            <p:spPr>
              <a:xfrm>
                <a:off x="1640875" y="2593923"/>
                <a:ext cx="4274750" cy="25003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100"/>
                  </a:lnSpc>
                </a:pPr>
                <a:r>
                  <a:rPr lang="en-US" sz="1500" b="1" dirty="0">
                    <a:solidFill>
                      <a:srgbClr val="551B8D"/>
                    </a:solidFill>
                    <a:latin typeface="Quicksand" pitchFamily="2" charset="0"/>
                  </a:rPr>
                  <a:t>QUESTION 1</a:t>
                </a:r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890533" y="2927187"/>
                <a:ext cx="5775434" cy="18399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540"/>
                  </a:lnSpc>
                </a:pPr>
                <a:r>
                  <a:rPr lang="en-US" sz="1100" b="1" dirty="0">
                    <a:solidFill>
                      <a:srgbClr val="1E1E1E"/>
                    </a:solidFill>
                    <a:latin typeface="Quicksand" pitchFamily="2" charset="0"/>
                  </a:rPr>
                  <a:t>Explain one key concept or fact you learned during today's lesson about the topic</a:t>
                </a:r>
              </a:p>
            </p:txBody>
          </p:sp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A02C614F-3AA0-938B-81CF-41106F0A612D}"/>
                  </a:ext>
                </a:extLst>
              </p:cNvPr>
              <p:cNvSpPr/>
              <p:nvPr/>
            </p:nvSpPr>
            <p:spPr>
              <a:xfrm>
                <a:off x="754250" y="3259153"/>
                <a:ext cx="6048000" cy="1534437"/>
              </a:xfrm>
              <a:prstGeom prst="roundRect">
                <a:avLst>
                  <a:gd name="adj" fmla="val 10873"/>
                </a:avLst>
              </a:prstGeom>
              <a:solidFill>
                <a:schemeClr val="bg1"/>
              </a:solidFill>
              <a:ln w="19050">
                <a:solidFill>
                  <a:srgbClr val="754A9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39E7E60-0DA8-833E-823E-3D5AE0B74C4D}"/>
                </a:ext>
              </a:extLst>
            </p:cNvPr>
            <p:cNvGrpSpPr/>
            <p:nvPr/>
          </p:nvGrpSpPr>
          <p:grpSpPr>
            <a:xfrm>
              <a:off x="909219" y="1447819"/>
              <a:ext cx="5741562" cy="749980"/>
              <a:chOff x="909219" y="1447819"/>
              <a:chExt cx="5741562" cy="749980"/>
            </a:xfrm>
          </p:grpSpPr>
          <p:sp>
            <p:nvSpPr>
              <p:cNvPr id="37" name="AutoShape 37"/>
              <p:cNvSpPr/>
              <p:nvPr/>
            </p:nvSpPr>
            <p:spPr>
              <a:xfrm flipV="1">
                <a:off x="2136548" y="1648258"/>
                <a:ext cx="4514233" cy="0"/>
              </a:xfrm>
              <a:prstGeom prst="line">
                <a:avLst/>
              </a:prstGeom>
              <a:ln w="19050" cap="flat">
                <a:solidFill>
                  <a:srgbClr val="754A9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" name="AutoShape 38"/>
              <p:cNvSpPr/>
              <p:nvPr/>
            </p:nvSpPr>
            <p:spPr>
              <a:xfrm flipV="1">
                <a:off x="1466142" y="2197799"/>
                <a:ext cx="3308444" cy="0"/>
              </a:xfrm>
              <a:prstGeom prst="line">
                <a:avLst/>
              </a:prstGeom>
              <a:ln w="19050" cap="flat">
                <a:solidFill>
                  <a:srgbClr val="754A9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" name="AutoShape 39"/>
              <p:cNvSpPr/>
              <p:nvPr/>
            </p:nvSpPr>
            <p:spPr>
              <a:xfrm flipV="1">
                <a:off x="5424484" y="2197799"/>
                <a:ext cx="1226156" cy="0"/>
              </a:xfrm>
              <a:prstGeom prst="line">
                <a:avLst/>
              </a:prstGeom>
              <a:ln w="19050" cap="flat">
                <a:solidFill>
                  <a:srgbClr val="754A9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" name="TextBox 50"/>
              <p:cNvSpPr txBox="1"/>
              <p:nvPr/>
            </p:nvSpPr>
            <p:spPr>
              <a:xfrm>
                <a:off x="909219" y="1447819"/>
                <a:ext cx="4274749" cy="2004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79"/>
                  </a:lnSpc>
                </a:pPr>
                <a:r>
                  <a:rPr lang="en-US" sz="1200" b="1" dirty="0">
                    <a:solidFill>
                      <a:srgbClr val="551B8D"/>
                    </a:solidFill>
                    <a:latin typeface="Quicksand" pitchFamily="2" charset="0"/>
                  </a:rPr>
                  <a:t>Student Name: </a:t>
                </a:r>
              </a:p>
            </p:txBody>
          </p:sp>
          <p:sp>
            <p:nvSpPr>
              <p:cNvPr id="51" name="TextBox 51"/>
              <p:cNvSpPr txBox="1"/>
              <p:nvPr/>
            </p:nvSpPr>
            <p:spPr>
              <a:xfrm>
                <a:off x="909219" y="1997360"/>
                <a:ext cx="1304488" cy="2004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79"/>
                  </a:lnSpc>
                </a:pPr>
                <a:r>
                  <a:rPr lang="en-US" sz="1200" b="1" dirty="0">
                    <a:solidFill>
                      <a:srgbClr val="551B8D"/>
                    </a:solidFill>
                    <a:latin typeface="Quicksand" pitchFamily="2" charset="0"/>
                  </a:rPr>
                  <a:t>Topic: </a:t>
                </a:r>
              </a:p>
            </p:txBody>
          </p:sp>
          <p:sp>
            <p:nvSpPr>
              <p:cNvPr id="52" name="TextBox 52"/>
              <p:cNvSpPr txBox="1"/>
              <p:nvPr/>
            </p:nvSpPr>
            <p:spPr>
              <a:xfrm>
                <a:off x="4892788" y="1997360"/>
                <a:ext cx="1304488" cy="2004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79"/>
                  </a:lnSpc>
                </a:pPr>
                <a:r>
                  <a:rPr lang="en-US" sz="1200" b="1" dirty="0">
                    <a:solidFill>
                      <a:srgbClr val="551B8D"/>
                    </a:solidFill>
                    <a:latin typeface="Quicksand" pitchFamily="2" charset="0"/>
                  </a:rPr>
                  <a:t>Date:</a:t>
                </a:r>
              </a:p>
            </p:txBody>
          </p:sp>
        </p:grpSp>
        <p:sp>
          <p:nvSpPr>
            <p:cNvPr id="40" name="TemplateLAB"/>
            <p:cNvSpPr/>
            <p:nvPr/>
          </p:nvSpPr>
          <p:spPr>
            <a:xfrm rot="5400000">
              <a:off x="6607205" y="9113277"/>
              <a:ext cx="748190" cy="123451"/>
            </a:xfrm>
            <a:custGeom>
              <a:avLst/>
              <a:gdLst/>
              <a:ahLst/>
              <a:cxnLst/>
              <a:rect l="l" t="t" r="r" b="b"/>
              <a:pathLst>
                <a:path w="748190" h="123451">
                  <a:moveTo>
                    <a:pt x="0" y="0"/>
                  </a:moveTo>
                  <a:lnTo>
                    <a:pt x="748190" y="0"/>
                  </a:lnTo>
                  <a:lnTo>
                    <a:pt x="748190" y="123452"/>
                  </a:lnTo>
                  <a:lnTo>
                    <a:pt x="0" y="12345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</TotalTime>
  <Words>56</Words>
  <Application>Microsoft Office PowerPoint</Application>
  <PresentationFormat>Custom</PresentationFormat>
  <Paragraphs>1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Quicksand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it Ticket (Portrait)</dc:title>
  <dc:creator>Hoang Anh</dc:creator>
  <cp:lastModifiedBy>Hoang Anh</cp:lastModifiedBy>
  <cp:revision>12</cp:revision>
  <dcterms:created xsi:type="dcterms:W3CDTF">2006-08-16T00:00:00Z</dcterms:created>
  <dcterms:modified xsi:type="dcterms:W3CDTF">2023-09-29T10:04:59Z</dcterms:modified>
  <dc:identifier>DAFvahlxRyY</dc:identifier>
</cp:coreProperties>
</file>